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4"/>
  </p:notesMasterIdLst>
  <p:sldIdLst>
    <p:sldId id="279" r:id="rId2"/>
    <p:sldId id="271" r:id="rId3"/>
    <p:sldId id="436" r:id="rId4"/>
    <p:sldId id="461" r:id="rId5"/>
    <p:sldId id="413" r:id="rId6"/>
    <p:sldId id="414" r:id="rId7"/>
    <p:sldId id="415" r:id="rId8"/>
    <p:sldId id="459" r:id="rId9"/>
    <p:sldId id="460" r:id="rId10"/>
    <p:sldId id="420" r:id="rId11"/>
    <p:sldId id="419" r:id="rId12"/>
    <p:sldId id="416" r:id="rId13"/>
    <p:sldId id="417" r:id="rId14"/>
    <p:sldId id="382" r:id="rId15"/>
    <p:sldId id="422" r:id="rId16"/>
    <p:sldId id="418" r:id="rId17"/>
    <p:sldId id="424" r:id="rId18"/>
    <p:sldId id="425" r:id="rId19"/>
    <p:sldId id="426" r:id="rId20"/>
    <p:sldId id="427" r:id="rId21"/>
    <p:sldId id="423" r:id="rId22"/>
    <p:sldId id="383" r:id="rId23"/>
    <p:sldId id="304" r:id="rId24"/>
    <p:sldId id="373" r:id="rId25"/>
    <p:sldId id="366" r:id="rId26"/>
    <p:sldId id="311" r:id="rId27"/>
    <p:sldId id="384" r:id="rId28"/>
    <p:sldId id="371" r:id="rId29"/>
    <p:sldId id="314" r:id="rId30"/>
    <p:sldId id="385" r:id="rId31"/>
    <p:sldId id="352" r:id="rId32"/>
    <p:sldId id="354" r:id="rId33"/>
    <p:sldId id="362" r:id="rId34"/>
    <p:sldId id="434" r:id="rId35"/>
    <p:sldId id="355" r:id="rId36"/>
    <p:sldId id="363" r:id="rId37"/>
    <p:sldId id="365" r:id="rId38"/>
    <p:sldId id="379" r:id="rId39"/>
    <p:sldId id="380" r:id="rId40"/>
    <p:sldId id="391" r:id="rId41"/>
    <p:sldId id="392" r:id="rId42"/>
    <p:sldId id="428" r:id="rId43"/>
    <p:sldId id="429" r:id="rId44"/>
    <p:sldId id="430" r:id="rId45"/>
    <p:sldId id="431" r:id="rId46"/>
    <p:sldId id="433" r:id="rId47"/>
    <p:sldId id="381" r:id="rId48"/>
    <p:sldId id="386" r:id="rId49"/>
    <p:sldId id="396" r:id="rId50"/>
    <p:sldId id="397" r:id="rId51"/>
    <p:sldId id="387" r:id="rId52"/>
    <p:sldId id="388" r:id="rId53"/>
    <p:sldId id="390" r:id="rId54"/>
    <p:sldId id="393" r:id="rId55"/>
    <p:sldId id="394" r:id="rId56"/>
    <p:sldId id="403" r:id="rId57"/>
    <p:sldId id="404" r:id="rId58"/>
    <p:sldId id="409" r:id="rId59"/>
    <p:sldId id="395" r:id="rId60"/>
    <p:sldId id="405" r:id="rId61"/>
    <p:sldId id="398" r:id="rId62"/>
    <p:sldId id="400" r:id="rId63"/>
    <p:sldId id="399" r:id="rId64"/>
    <p:sldId id="401" r:id="rId65"/>
    <p:sldId id="402" r:id="rId66"/>
    <p:sldId id="406" r:id="rId67"/>
    <p:sldId id="407" r:id="rId68"/>
    <p:sldId id="408" r:id="rId69"/>
    <p:sldId id="410" r:id="rId70"/>
    <p:sldId id="411" r:id="rId71"/>
    <p:sldId id="435" r:id="rId72"/>
    <p:sldId id="389" r:id="rId73"/>
    <p:sldId id="441" r:id="rId74"/>
    <p:sldId id="442" r:id="rId75"/>
    <p:sldId id="443" r:id="rId76"/>
    <p:sldId id="444" r:id="rId77"/>
    <p:sldId id="445" r:id="rId78"/>
    <p:sldId id="446" r:id="rId79"/>
    <p:sldId id="447" r:id="rId80"/>
    <p:sldId id="448" r:id="rId81"/>
    <p:sldId id="449" r:id="rId82"/>
    <p:sldId id="450" r:id="rId83"/>
    <p:sldId id="451" r:id="rId84"/>
    <p:sldId id="452" r:id="rId85"/>
    <p:sldId id="453" r:id="rId86"/>
    <p:sldId id="454" r:id="rId87"/>
    <p:sldId id="455" r:id="rId88"/>
    <p:sldId id="456" r:id="rId89"/>
    <p:sldId id="457" r:id="rId90"/>
    <p:sldId id="458" r:id="rId91"/>
    <p:sldId id="462" r:id="rId92"/>
    <p:sldId id="463" r:id="rId9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32" autoAdjust="0"/>
    <p:restoredTop sz="94660"/>
  </p:normalViewPr>
  <p:slideViewPr>
    <p:cSldViewPr snapToGrid="0">
      <p:cViewPr varScale="1">
        <p:scale>
          <a:sx n="66" d="100"/>
          <a:sy n="66" d="100"/>
        </p:scale>
        <p:origin x="684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slide" Target="slides/slide89.xml"/><Relationship Id="rId95" Type="http://schemas.openxmlformats.org/officeDocument/2006/relationships/presProps" Target="presProps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slide" Target="slides/slide90.xml"/><Relationship Id="rId9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slide" Target="slides/slide91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slide" Target="slides/slide92.xml"/><Relationship Id="rId98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CBB74E-4711-4789-B173-1496C1FD84E0}" type="datetimeFigureOut">
              <a:rPr lang="en-US" smtClean="0"/>
              <a:t>2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4A54EC-2930-4378-91C1-C3C630D1BA0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8817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D6F3BE-76B4-4733-BCE4-3A34B6B8F6E4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29934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D6F3BE-76B4-4733-BCE4-3A34B6B8F6E4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7492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DD6F3BE-76B4-4733-BCE4-3A34B6B8F6E4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070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9BA55-7EF1-4D11-A997-A03E8BE423E5}" type="datetimeFigureOut">
              <a:rPr lang="en-US" smtClean="0"/>
              <a:t>2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0265-B28C-4C4A-A684-CCE19DA9BB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418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9BA55-7EF1-4D11-A997-A03E8BE423E5}" type="datetimeFigureOut">
              <a:rPr lang="en-US" smtClean="0"/>
              <a:t>2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0265-B28C-4C4A-A684-CCE19DA9BB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51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9BA55-7EF1-4D11-A997-A03E8BE423E5}" type="datetimeFigureOut">
              <a:rPr lang="en-US" smtClean="0"/>
              <a:t>2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0265-B28C-4C4A-A684-CCE19DA9BB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078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9BA55-7EF1-4D11-A997-A03E8BE423E5}" type="datetimeFigureOut">
              <a:rPr lang="en-US" smtClean="0"/>
              <a:t>2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0265-B28C-4C4A-A684-CCE19DA9BB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4487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9BA55-7EF1-4D11-A997-A03E8BE423E5}" type="datetimeFigureOut">
              <a:rPr lang="en-US" smtClean="0"/>
              <a:t>2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0265-B28C-4C4A-A684-CCE19DA9BB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153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9BA55-7EF1-4D11-A997-A03E8BE423E5}" type="datetimeFigureOut">
              <a:rPr lang="en-US" smtClean="0"/>
              <a:t>2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0265-B28C-4C4A-A684-CCE19DA9BB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4560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9BA55-7EF1-4D11-A997-A03E8BE423E5}" type="datetimeFigureOut">
              <a:rPr lang="en-US" smtClean="0"/>
              <a:t>2/24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0265-B28C-4C4A-A684-CCE19DA9BB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5270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9BA55-7EF1-4D11-A997-A03E8BE423E5}" type="datetimeFigureOut">
              <a:rPr lang="en-US" smtClean="0"/>
              <a:t>2/24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0265-B28C-4C4A-A684-CCE19DA9BB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4665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9BA55-7EF1-4D11-A997-A03E8BE423E5}" type="datetimeFigureOut">
              <a:rPr lang="en-US" smtClean="0"/>
              <a:t>2/24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0265-B28C-4C4A-A684-CCE19DA9BB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0085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9BA55-7EF1-4D11-A997-A03E8BE423E5}" type="datetimeFigureOut">
              <a:rPr lang="en-US" smtClean="0"/>
              <a:t>2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0265-B28C-4C4A-A684-CCE19DA9BB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77954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9BA55-7EF1-4D11-A997-A03E8BE423E5}" type="datetimeFigureOut">
              <a:rPr lang="en-US" smtClean="0"/>
              <a:t>2/24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480265-B28C-4C4A-A684-CCE19DA9BB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4685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D9BA55-7EF1-4D11-A997-A03E8BE423E5}" type="datetimeFigureOut">
              <a:rPr lang="en-US" smtClean="0"/>
              <a:t>2/24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480265-B28C-4C4A-A684-CCE19DA9BB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570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1.png"/><Relationship Id="rId12" Type="http://schemas.openxmlformats.org/officeDocument/2006/relationships/image" Target="../media/image36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0.jpeg"/><Relationship Id="rId11" Type="http://schemas.openxmlformats.org/officeDocument/2006/relationships/image" Target="../media/image35.jpg"/><Relationship Id="rId5" Type="http://schemas.openxmlformats.org/officeDocument/2006/relationships/image" Target="../media/image29.emf"/><Relationship Id="rId10" Type="http://schemas.openxmlformats.org/officeDocument/2006/relationships/image" Target="../media/image34.jpg"/><Relationship Id="rId4" Type="http://schemas.openxmlformats.org/officeDocument/2006/relationships/oleObject" Target="../embeddings/oleObject1.bin"/><Relationship Id="rId9" Type="http://schemas.openxmlformats.org/officeDocument/2006/relationships/image" Target="../media/image33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9.jp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0.jpe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1.jpe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.bin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3.jpe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4.jpe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.bin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8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8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8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g"/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8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8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8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8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g"/><Relationship Id="rId1" Type="http://schemas.openxmlformats.org/officeDocument/2006/relationships/slideLayout" Target="../slideLayouts/slideLayout8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8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8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g"/><Relationship Id="rId2" Type="http://schemas.openxmlformats.org/officeDocument/2006/relationships/image" Target="../media/image72.jpg"/><Relationship Id="rId1" Type="http://schemas.openxmlformats.org/officeDocument/2006/relationships/slideLayout" Target="../slideLayouts/slideLayout8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g"/><Relationship Id="rId1" Type="http://schemas.openxmlformats.org/officeDocument/2006/relationships/slideLayout" Target="../slideLayouts/slideLayout8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g"/><Relationship Id="rId1" Type="http://schemas.openxmlformats.org/officeDocument/2006/relationships/slideLayout" Target="../slideLayouts/slideLayout8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g"/><Relationship Id="rId2" Type="http://schemas.openxmlformats.org/officeDocument/2006/relationships/image" Target="../media/image76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78.jp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g"/><Relationship Id="rId1" Type="http://schemas.openxmlformats.org/officeDocument/2006/relationships/slideLayout" Target="../slideLayouts/slideLayout8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g"/><Relationship Id="rId2" Type="http://schemas.openxmlformats.org/officeDocument/2006/relationships/image" Target="../media/image80.jp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g"/><Relationship Id="rId2" Type="http://schemas.openxmlformats.org/officeDocument/2006/relationships/image" Target="../media/image82.jpg"/><Relationship Id="rId1" Type="http://schemas.openxmlformats.org/officeDocument/2006/relationships/slideLayout" Target="../slideLayouts/slideLayout8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g"/><Relationship Id="rId1" Type="http://schemas.openxmlformats.org/officeDocument/2006/relationships/slideLayout" Target="../slideLayouts/slideLayout8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g"/><Relationship Id="rId1" Type="http://schemas.openxmlformats.org/officeDocument/2006/relationships/slideLayout" Target="../slideLayouts/slideLayout8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g"/><Relationship Id="rId1" Type="http://schemas.openxmlformats.org/officeDocument/2006/relationships/slideLayout" Target="../slideLayouts/slideLayout8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g"/><Relationship Id="rId1" Type="http://schemas.openxmlformats.org/officeDocument/2006/relationships/slideLayout" Target="../slideLayouts/slideLayout8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jpg"/><Relationship Id="rId1" Type="http://schemas.openxmlformats.org/officeDocument/2006/relationships/slideLayout" Target="../slideLayouts/slideLayout8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g"/><Relationship Id="rId1" Type="http://schemas.openxmlformats.org/officeDocument/2006/relationships/slideLayout" Target="../slideLayouts/slideLayout8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g"/><Relationship Id="rId1" Type="http://schemas.openxmlformats.org/officeDocument/2006/relationships/slideLayout" Target="../slideLayouts/slideLayout8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g"/><Relationship Id="rId1" Type="http://schemas.openxmlformats.org/officeDocument/2006/relationships/slideLayout" Target="../slideLayouts/slideLayout8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jp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g"/><Relationship Id="rId1" Type="http://schemas.openxmlformats.org/officeDocument/2006/relationships/slideLayout" Target="../slideLayouts/slideLayout8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g"/><Relationship Id="rId2" Type="http://schemas.openxmlformats.org/officeDocument/2006/relationships/image" Target="../media/image93.jpg"/><Relationship Id="rId1" Type="http://schemas.openxmlformats.org/officeDocument/2006/relationships/slideLayout" Target="../slideLayouts/slideLayout8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jpg"/><Relationship Id="rId1" Type="http://schemas.openxmlformats.org/officeDocument/2006/relationships/slideLayout" Target="../slideLayouts/slideLayout8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g"/><Relationship Id="rId2" Type="http://schemas.openxmlformats.org/officeDocument/2006/relationships/image" Target="../media/image96.jpg"/><Relationship Id="rId1" Type="http://schemas.openxmlformats.org/officeDocument/2006/relationships/slideLayout" Target="../slideLayouts/slideLayout8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g"/><Relationship Id="rId2" Type="http://schemas.openxmlformats.org/officeDocument/2006/relationships/image" Target="../media/image98.jpg"/><Relationship Id="rId1" Type="http://schemas.openxmlformats.org/officeDocument/2006/relationships/slideLayout" Target="../slideLayouts/slideLayout8.xml"/></Relationships>
</file>

<file path=ppt/slides/_rels/slide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jpg"/><Relationship Id="rId1" Type="http://schemas.openxmlformats.org/officeDocument/2006/relationships/slideLayout" Target="../slideLayouts/slideLayout8.xml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g"/><Relationship Id="rId2" Type="http://schemas.openxmlformats.org/officeDocument/2006/relationships/image" Target="../media/image101.jpg"/><Relationship Id="rId1" Type="http://schemas.openxmlformats.org/officeDocument/2006/relationships/slideLayout" Target="../slideLayouts/slideLayout8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g"/><Relationship Id="rId2" Type="http://schemas.openxmlformats.org/officeDocument/2006/relationships/image" Target="../media/image103.jpg"/><Relationship Id="rId1" Type="http://schemas.openxmlformats.org/officeDocument/2006/relationships/slideLayout" Target="../slideLayouts/slideLayout8.xml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g"/><Relationship Id="rId2" Type="http://schemas.openxmlformats.org/officeDocument/2006/relationships/image" Target="../media/image105.jpg"/><Relationship Id="rId1" Type="http://schemas.openxmlformats.org/officeDocument/2006/relationships/slideLayout" Target="../slideLayouts/slideLayout8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g"/><Relationship Id="rId2" Type="http://schemas.openxmlformats.org/officeDocument/2006/relationships/image" Target="../media/image107.jp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g"/><Relationship Id="rId2" Type="http://schemas.openxmlformats.org/officeDocument/2006/relationships/image" Target="../media/image109.jpg"/><Relationship Id="rId1" Type="http://schemas.openxmlformats.org/officeDocument/2006/relationships/slideLayout" Target="../slideLayouts/slideLayout8.xml"/></Relationships>
</file>

<file path=ppt/slides/_rels/slide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jpg"/><Relationship Id="rId1" Type="http://schemas.openxmlformats.org/officeDocument/2006/relationships/slideLayout" Target="../slideLayouts/slideLayout8.xml"/></Relationships>
</file>

<file path=ppt/slides/_rels/slide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g"/><Relationship Id="rId2" Type="http://schemas.openxmlformats.org/officeDocument/2006/relationships/image" Target="../media/image112.jpg"/><Relationship Id="rId1" Type="http://schemas.openxmlformats.org/officeDocument/2006/relationships/slideLayout" Target="../slideLayouts/slideLayout8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jpg"/><Relationship Id="rId2" Type="http://schemas.openxmlformats.org/officeDocument/2006/relationships/image" Target="../media/image96.jpg"/><Relationship Id="rId1" Type="http://schemas.openxmlformats.org/officeDocument/2006/relationships/slideLayout" Target="../slideLayouts/slideLayout8.xml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g"/><Relationship Id="rId2" Type="http://schemas.openxmlformats.org/officeDocument/2006/relationships/image" Target="../media/image98.jpg"/><Relationship Id="rId1" Type="http://schemas.openxmlformats.org/officeDocument/2006/relationships/slideLayout" Target="../slideLayouts/slideLayout8.xml"/></Relationships>
</file>

<file path=ppt/slides/_rels/slide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jpg"/><Relationship Id="rId1" Type="http://schemas.openxmlformats.org/officeDocument/2006/relationships/slideLayout" Target="../slideLayouts/slideLayout8.xml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jpg"/><Relationship Id="rId2" Type="http://schemas.openxmlformats.org/officeDocument/2006/relationships/image" Target="../media/image101.jpg"/><Relationship Id="rId1" Type="http://schemas.openxmlformats.org/officeDocument/2006/relationships/slideLayout" Target="../slideLayouts/slideLayout8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g"/><Relationship Id="rId2" Type="http://schemas.openxmlformats.org/officeDocument/2006/relationships/image" Target="../media/image103.jpg"/><Relationship Id="rId1" Type="http://schemas.openxmlformats.org/officeDocument/2006/relationships/slideLayout" Target="../slideLayouts/slideLayout8.xml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g"/><Relationship Id="rId2" Type="http://schemas.openxmlformats.org/officeDocument/2006/relationships/image" Target="../media/image105.jpg"/><Relationship Id="rId1" Type="http://schemas.openxmlformats.org/officeDocument/2006/relationships/slideLayout" Target="../slideLayouts/slideLayout8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g"/><Relationship Id="rId2" Type="http://schemas.openxmlformats.org/officeDocument/2006/relationships/image" Target="../media/image107.jp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g"/><Relationship Id="rId2" Type="http://schemas.openxmlformats.org/officeDocument/2006/relationships/image" Target="../media/image109.jpg"/><Relationship Id="rId1" Type="http://schemas.openxmlformats.org/officeDocument/2006/relationships/slideLayout" Target="../slideLayouts/slideLayout8.xml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jpg"/><Relationship Id="rId2" Type="http://schemas.openxmlformats.org/officeDocument/2006/relationships/image" Target="../media/image114.jpg"/><Relationship Id="rId1" Type="http://schemas.openxmlformats.org/officeDocument/2006/relationships/slideLayout" Target="../slideLayouts/slideLayout8.xml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g"/><Relationship Id="rId2" Type="http://schemas.openxmlformats.org/officeDocument/2006/relationships/image" Target="../media/image116.jp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9817" y="2355306"/>
            <a:ext cx="11625943" cy="3625080"/>
          </a:xfrm>
        </p:spPr>
        <p:txBody>
          <a:bodyPr>
            <a:normAutofit fontScale="90000"/>
          </a:bodyPr>
          <a:lstStyle/>
          <a:p>
            <a:r>
              <a:rPr lang="en-US" sz="4800" b="1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KANO STATE HEALTH TRUST FUND</a:t>
            </a:r>
            <a:br>
              <a:rPr lang="en-US" sz="4800" b="1" dirty="0"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(KHETFUND)</a:t>
            </a:r>
            <a:br>
              <a:rPr lang="en-US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en-US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4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ACHIEVEMENT PICTURES</a:t>
            </a:r>
            <a:b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FROM MAY </a:t>
            </a:r>
            <a:r>
              <a:rPr lang="en-US" sz="48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03 To </a:t>
            </a:r>
            <a:r>
              <a:rPr lang="en-US" sz="4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DATE </a:t>
            </a:r>
            <a:endParaRPr lang="en-US" sz="4400" dirty="0">
              <a:solidFill>
                <a:srgbClr val="C00000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09245" y="0"/>
            <a:ext cx="11173006" cy="672147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br>
              <a:rPr kumimoji="0" lang="en-US" sz="489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anose="02020603050405020304" pitchFamily="18" charset="0"/>
                <a:ea typeface="+mj-ea"/>
                <a:cs typeface="Times New Roman" panose="02020603050405020304" pitchFamily="18" charset="0"/>
              </a:rPr>
            </a:br>
            <a:endParaRPr lang="en-US" sz="2800" b="1" dirty="0"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br>
              <a:rPr kumimoji="0" lang="en-US" sz="3110" b="1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/>
                <a:ea typeface="+mj-ea"/>
                <a:cs typeface="+mj-cs"/>
              </a:rPr>
            </a:br>
            <a:br>
              <a:rPr kumimoji="0" lang="en-US" sz="3110" b="1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 Light"/>
                <a:ea typeface="+mj-ea"/>
                <a:cs typeface="+mj-cs"/>
              </a:rPr>
            </a:b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 Ligh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4060" y="146685"/>
            <a:ext cx="2033905" cy="21012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4271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20" y="125879"/>
            <a:ext cx="11643360" cy="64935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Arial Black" panose="020B0A04020102020204" pitchFamily="34" charset="0"/>
              </a:rPr>
              <a:t>PURCHASE OF COMPUTERS FOR KHETFUND STAFF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92817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783" y="125879"/>
            <a:ext cx="11797747" cy="649358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CAPACITY BUILDING OF  KHETFUND STAFF ON HEALTHCARE FINANCING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371246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844" y="125879"/>
            <a:ext cx="11797748" cy="650759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Arial Black" panose="020B0A04020102020204" pitchFamily="34" charset="0"/>
              </a:rPr>
              <a:t>Capacity Building of KHETFUND Staff on Healthcare Financ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340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885238" y="532117"/>
            <a:ext cx="6507583" cy="569512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50253" y="291747"/>
            <a:ext cx="6507589" cy="617585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Arial Black" panose="020B0A04020102020204" pitchFamily="34" charset="0"/>
              </a:rPr>
              <a:t>Capacity Building of KHETFUND Staff on Healthcare Financing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19660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20" y="125878"/>
            <a:ext cx="11722210" cy="64659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PRINTING OF KHETFUND OPERATIONAL GUIDELIN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61444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1470" y="125879"/>
            <a:ext cx="5626210" cy="6497646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20" y="139883"/>
            <a:ext cx="6017150" cy="64836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REFRESHER TRAINING OF KHETFUND FOCAL PERS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27212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783" y="125879"/>
            <a:ext cx="11806029" cy="65035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Arial Black" panose="020B0A04020102020204" pitchFamily="34" charset="0"/>
              </a:rPr>
              <a:t>SENSITIZATION MEETING @ HMB BICHI ZON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515475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20" y="125880"/>
            <a:ext cx="11684132" cy="65797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SENSITIZATION MEETING @ HMB HBPH ZON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02554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239" y="173380"/>
            <a:ext cx="11842838" cy="646492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SENSITIZATION MEETING @ HMB SMSSH ZON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56768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478" y="125879"/>
            <a:ext cx="11830778" cy="65797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SENSITIZATION MEETING @ HMB MMSH ZON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01387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2382" y="125879"/>
            <a:ext cx="5854977" cy="645125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19" y="125879"/>
            <a:ext cx="5868063" cy="645125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Arial Black" panose="020B0A04020102020204" pitchFamily="34" charset="0"/>
              </a:rPr>
              <a:t>INSTALLATION OF STARLINK NETWORK @ KHETFU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924922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406" y="125879"/>
            <a:ext cx="11698046" cy="65797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SENSITIZATION MEETING @ HMB GWARZO ZON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018440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3148"/>
            <a:ext cx="12192000" cy="6782319"/>
          </a:xfr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Arial Black" panose="020B0A04020102020204" pitchFamily="34" charset="0"/>
              </a:rPr>
              <a:t>Office Equipment/Furniture @ College of Health Science and Technolog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71139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667000" y="-2667003"/>
            <a:ext cx="6858000" cy="1219200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Arial Black" panose="020B0A04020102020204" pitchFamily="34" charset="0"/>
              </a:rPr>
              <a:t>Office Equipment/Furniture @ College of Health Science and Technolog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34463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DAE591-F349-F81E-03D4-937D931B7E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3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8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DAE591-F349-F81E-03D4-937D931B7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39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302" y="198089"/>
            <a:ext cx="11887200" cy="880640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eaLnBrk="1" hangingPunct="1"/>
            <a:r>
              <a:rPr lang="en-US" sz="36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endParaRPr lang="en-US" sz="37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195BA0-9BAD-4161-865A-914183F2A7B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pPr eaLnBrk="1" hangingPunct="1"/>
            <a:endParaRPr lang="en-US" sz="18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eaLnBrk="1" hangingPunct="1"/>
            <a:endParaRPr lang="en-US" sz="18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marL="0"/>
            <a:endParaRPr lang="en-US" sz="2000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6BF461E2-FF3C-2EB7-0C52-64FAEF96DB3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831" y="943912"/>
            <a:ext cx="5764254" cy="300080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DFB4979-0CF7-3770-E114-95255CCE5D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62118" y="943912"/>
            <a:ext cx="5892686" cy="300080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3B1974F-6AF9-536F-79E5-DAEC923BEA4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3935120"/>
            <a:ext cx="11473804" cy="267175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12" y="1110260"/>
            <a:ext cx="6762056" cy="2844836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652" y="3627427"/>
            <a:ext cx="6621002" cy="297945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9452" y="1057580"/>
            <a:ext cx="5530205" cy="285578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9104" y="3909012"/>
            <a:ext cx="5415701" cy="2752725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87BB53A-FB8D-4D76-B218-44533C55ACBE}"/>
              </a:ext>
            </a:extLst>
          </p:cNvPr>
          <p:cNvSpPr txBox="1"/>
          <p:nvPr/>
        </p:nvSpPr>
        <p:spPr>
          <a:xfrm>
            <a:off x="283653" y="21250"/>
            <a:ext cx="109242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Distribution of Commodities to Healthcare Facilities for Free Maternal and Child Care </a:t>
            </a:r>
            <a:r>
              <a:rPr lang="en-US" sz="2400" dirty="0" err="1">
                <a:solidFill>
                  <a:srgbClr val="FF0000"/>
                </a:solidFill>
                <a:latin typeface="Arial Black" panose="020B0A04020102020204" pitchFamily="34" charset="0"/>
              </a:rPr>
              <a:t>Programe</a:t>
            </a:r>
            <a:endParaRPr lang="en-US" sz="2400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82286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1B4164-CC9D-7B62-D953-CA6610C4F0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1F488843-AA9F-ED32-0A8F-E3A75DEF87F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52400"/>
            <a:ext cx="11201400" cy="6709554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21D7D4-E3BB-B72D-4821-528C8ACCEA33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CA1B100-FD3F-42FD-8BA9-76D8B3AE9908}"/>
              </a:ext>
            </a:extLst>
          </p:cNvPr>
          <p:cNvSpPr txBox="1"/>
          <p:nvPr/>
        </p:nvSpPr>
        <p:spPr>
          <a:xfrm>
            <a:off x="1022668" y="457200"/>
            <a:ext cx="104378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Distribution of Commodities to Healthcare Facilities for Free Maternal and Child Care Program</a:t>
            </a:r>
          </a:p>
        </p:txBody>
      </p:sp>
    </p:spTree>
    <p:extLst>
      <p:ext uri="{BB962C8B-B14F-4D97-AF65-F5344CB8AC3E}">
        <p14:creationId xmlns:p14="http://schemas.microsoft.com/office/powerpoint/2010/main" val="24724789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FE6D3A-2F8A-D012-6DED-CA37847BF5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299519D9-6E2A-C17E-D017-D347DD7DE91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7324" y="168167"/>
            <a:ext cx="6053959" cy="6453350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68D0B1-7257-D3E3-0840-1DCB12AC4291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F961C97-CD1D-EB7D-8D07-97A751B9199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17" y="168167"/>
            <a:ext cx="5696607" cy="64533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4B28B685-2506-4C3B-93A4-7487D5EFD48A}"/>
              </a:ext>
            </a:extLst>
          </p:cNvPr>
          <p:cNvSpPr txBox="1"/>
          <p:nvPr/>
        </p:nvSpPr>
        <p:spPr>
          <a:xfrm>
            <a:off x="457202" y="457199"/>
            <a:ext cx="107899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Distribution of Commodities to Healthcare Facilities for Free Maternal and Child Care Program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41508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DAE591-F349-F81E-03D4-937D931B7E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3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3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DAE591-F349-F81E-03D4-937D931B7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39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14" y="178677"/>
            <a:ext cx="11939752" cy="652692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CDD866B-6C53-4BC2-A4CB-D95A085EC2E5}"/>
              </a:ext>
            </a:extLst>
          </p:cNvPr>
          <p:cNvSpPr txBox="1"/>
          <p:nvPr/>
        </p:nvSpPr>
        <p:spPr>
          <a:xfrm>
            <a:off x="824412" y="320071"/>
            <a:ext cx="10543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Renovation and Equipping of School of Ophthalmic Nursing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595289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DAE591-F349-F81E-03D4-937D931B7E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3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8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DAE591-F349-F81E-03D4-937D931B7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39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76" y="168166"/>
            <a:ext cx="11813627" cy="653743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CDD866B-6C53-4BC2-A4CB-D95A085EC2E5}"/>
              </a:ext>
            </a:extLst>
          </p:cNvPr>
          <p:cNvSpPr txBox="1"/>
          <p:nvPr/>
        </p:nvSpPr>
        <p:spPr>
          <a:xfrm>
            <a:off x="824412" y="320071"/>
            <a:ext cx="10543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Arial Black" panose="020B0A04020102020204" pitchFamily="34" charset="0"/>
              </a:rPr>
              <a:t>Renovation and Equipping of School of Ophthalmic Nursing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963472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643E48-5536-3E84-7A93-9A4FD8FCF1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A1BA15A-9C16-DBA6-EBB4-D5593856015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07" y="197069"/>
            <a:ext cx="11761076" cy="6413938"/>
          </a:xfr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9D7228F-3C81-4013-A74E-8FBA9B09641B}"/>
              </a:ext>
            </a:extLst>
          </p:cNvPr>
          <p:cNvSpPr txBox="1"/>
          <p:nvPr/>
        </p:nvSpPr>
        <p:spPr>
          <a:xfrm>
            <a:off x="849141" y="228600"/>
            <a:ext cx="105431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Renovate and Equipped School of Ophthalmic Nursing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879721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DAE591-F349-F81E-03D4-937D931B7E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3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DAE591-F349-F81E-03D4-937D931B7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39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77" y="168166"/>
            <a:ext cx="11857222" cy="653743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A9B2BAC-BB29-4818-832E-9C86C5417155}"/>
              </a:ext>
            </a:extLst>
          </p:cNvPr>
          <p:cNvSpPr txBox="1"/>
          <p:nvPr/>
        </p:nvSpPr>
        <p:spPr>
          <a:xfrm>
            <a:off x="839788" y="237699"/>
            <a:ext cx="105124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Arial Black" panose="020B0A04020102020204" pitchFamily="34" charset="0"/>
              </a:rPr>
              <a:t>Laboratory and Text Books @ School of Midwifery </a:t>
            </a:r>
            <a:r>
              <a:rPr lang="en-US" sz="2400" dirty="0" err="1">
                <a:solidFill>
                  <a:schemeClr val="bg2"/>
                </a:solidFill>
                <a:latin typeface="Arial Black" panose="020B0A04020102020204" pitchFamily="34" charset="0"/>
              </a:rPr>
              <a:t>Gwarzo</a:t>
            </a:r>
            <a:r>
              <a:rPr lang="en-US" sz="2400" dirty="0">
                <a:solidFill>
                  <a:schemeClr val="bg2"/>
                </a:solidFill>
                <a:latin typeface="Arial Black" panose="020B0A04020102020204" pitchFamily="34" charset="0"/>
              </a:rPr>
              <a:t> for the Accreditation Exercise 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38438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2382" y="122040"/>
            <a:ext cx="5854977" cy="651932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641" y="76183"/>
            <a:ext cx="5947741" cy="65193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76183"/>
            <a:ext cx="11079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FF0000"/>
                </a:solidFill>
                <a:latin typeface="Arial Black" panose="020B0A04020102020204" pitchFamily="34" charset="0"/>
              </a:rPr>
              <a:t>INSTALLATION OF SOLAR @ KHETFU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346068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0DAE591-F349-F81E-03D4-937D931B7E8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39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3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0DAE591-F349-F81E-03D4-937D931B7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39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343" y="237699"/>
            <a:ext cx="11768959" cy="6425860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B11ABA85-81E5-4D0D-BFE9-830B3E037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A9B2BAC-BB29-4818-832E-9C86C5417155}"/>
              </a:ext>
            </a:extLst>
          </p:cNvPr>
          <p:cNvSpPr txBox="1"/>
          <p:nvPr/>
        </p:nvSpPr>
        <p:spPr>
          <a:xfrm>
            <a:off x="839788" y="237699"/>
            <a:ext cx="105124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Laboratory and Text Books @ School of Midwifery </a:t>
            </a:r>
            <a:r>
              <a:rPr lang="en-US" sz="2400" dirty="0" err="1">
                <a:solidFill>
                  <a:srgbClr val="FF0000"/>
                </a:solidFill>
                <a:latin typeface="Arial Black" panose="020B0A04020102020204" pitchFamily="34" charset="0"/>
              </a:rPr>
              <a:t>Gwarzo</a:t>
            </a:r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 for the Accreditation Exercise 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040996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90B14-010A-7D86-DF26-F54B312459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38BE6289-9D9A-FAB7-5082-0C3CE781CC6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" y="1"/>
            <a:ext cx="11811000" cy="7967067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60BEDFC-21F1-0061-C92E-C939132A231D}"/>
              </a:ext>
            </a:extLst>
          </p:cNvPr>
          <p:cNvSpPr txBox="1"/>
          <p:nvPr/>
        </p:nvSpPr>
        <p:spPr>
          <a:xfrm>
            <a:off x="3124200" y="3244334"/>
            <a:ext cx="59436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"C:\Users\hp\Desktop\Picture\20240131_111526.jpg"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40E46F-D9F4-4FD1-81E0-84C09C7F1B61}"/>
              </a:ext>
            </a:extLst>
          </p:cNvPr>
          <p:cNvSpPr txBox="1">
            <a:spLocks noGrp="1"/>
          </p:cNvSpPr>
          <p:nvPr>
            <p:ph type="body" sz="half" idx="2"/>
          </p:nvPr>
        </p:nvSpPr>
        <p:spPr>
          <a:xfrm>
            <a:off x="1222534" y="457200"/>
            <a:ext cx="9746932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Computers @ School of Midwifery </a:t>
            </a:r>
            <a:r>
              <a:rPr lang="en-US" sz="2400" dirty="0" err="1">
                <a:solidFill>
                  <a:schemeClr val="bg1"/>
                </a:solidFill>
                <a:latin typeface="Arial Black" panose="020B0A04020102020204" pitchFamily="34" charset="0"/>
              </a:rPr>
              <a:t>Gwarzo</a:t>
            </a:r>
            <a:endParaRPr lang="en-US" sz="2400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162932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4EA40967-CD6A-2548-E6D6-61036E80560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17" y="189185"/>
            <a:ext cx="11761075" cy="6411311"/>
          </a:xfr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EDE71E-51FB-41C5-A69B-EE39D148DA4C}"/>
              </a:ext>
            </a:extLst>
          </p:cNvPr>
          <p:cNvSpPr txBox="1"/>
          <p:nvPr/>
        </p:nvSpPr>
        <p:spPr>
          <a:xfrm>
            <a:off x="380999" y="274417"/>
            <a:ext cx="109880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KHETFUND Supported School of Nursing Kano with Text Books and Journals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753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456163-9B4B-F6AB-FF1E-6FC10F43AF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EF2DB01-8B4C-1F73-3C6C-EA6DD6DF2F2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17" y="178676"/>
            <a:ext cx="11666483" cy="6453352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C5296E-8068-D878-1287-BEA464040DE1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E83D85D-B3D0-44D9-B863-78BD6AF410FF}"/>
              </a:ext>
            </a:extLst>
          </p:cNvPr>
          <p:cNvSpPr txBox="1"/>
          <p:nvPr/>
        </p:nvSpPr>
        <p:spPr>
          <a:xfrm>
            <a:off x="380999" y="274417"/>
            <a:ext cx="109880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err="1">
                <a:solidFill>
                  <a:srgbClr val="FF0000"/>
                </a:solidFill>
                <a:latin typeface="Arial Black" panose="020B0A04020102020204" pitchFamily="34" charset="0"/>
              </a:rPr>
              <a:t>Demostration</a:t>
            </a:r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 Room at School of Midwifery </a:t>
            </a:r>
            <a:r>
              <a:rPr lang="en-US" sz="2400" dirty="0" err="1">
                <a:solidFill>
                  <a:srgbClr val="FF0000"/>
                </a:solidFill>
                <a:latin typeface="Arial Black" panose="020B0A04020102020204" pitchFamily="34" charset="0"/>
              </a:rPr>
              <a:t>Gwarzo</a:t>
            </a:r>
            <a:endParaRPr lang="en-US" sz="2400" dirty="0">
              <a:solidFill>
                <a:srgbClr val="FF0000"/>
              </a:solidFill>
              <a:latin typeface="Arial Black" panose="020B0A040201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406253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1" y="49695"/>
            <a:ext cx="11738112" cy="645049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TEACHING AIDS @ C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791690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810B7D-B001-5379-5766-C33AABCF0E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88931"/>
            <a:ext cx="3932237" cy="3811588"/>
          </a:xfrm>
        </p:spPr>
        <p:txBody>
          <a:bodyPr/>
          <a:lstStyle/>
          <a:p>
            <a:endParaRPr lang="en-US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0F31357E-384F-6309-A77C-7CCF0B3CAD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017" y="157655"/>
            <a:ext cx="11729735" cy="6405485"/>
          </a:xfr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A30B2A4-3155-46C9-A821-F5B3A751BAB2}"/>
              </a:ext>
            </a:extLst>
          </p:cNvPr>
          <p:cNvSpPr txBox="1"/>
          <p:nvPr/>
        </p:nvSpPr>
        <p:spPr>
          <a:xfrm>
            <a:off x="380999" y="242886"/>
            <a:ext cx="1098804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Renovated and Equipped Laboratory at College of Nursing Services </a:t>
            </a:r>
            <a:r>
              <a:rPr lang="en-US" sz="2400" dirty="0" err="1">
                <a:solidFill>
                  <a:schemeClr val="bg1"/>
                </a:solidFill>
                <a:latin typeface="Arial Black" panose="020B0A04020102020204" pitchFamily="34" charset="0"/>
              </a:rPr>
              <a:t>Madobi</a:t>
            </a:r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 Campu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990600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285BA8-2CE7-B4B8-D2FF-AA0AA98F2D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D8192DB4-58F1-85ED-AFCF-C57198B1F4D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17" y="157655"/>
            <a:ext cx="11761075" cy="6474373"/>
          </a:xfr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0EB38A2-574E-4E04-B404-49DC7E9AF196}"/>
              </a:ext>
            </a:extLst>
          </p:cNvPr>
          <p:cNvSpPr txBox="1"/>
          <p:nvPr/>
        </p:nvSpPr>
        <p:spPr>
          <a:xfrm>
            <a:off x="1423852" y="703302"/>
            <a:ext cx="9692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College of Nursing </a:t>
            </a:r>
            <a:r>
              <a:rPr lang="en-US" sz="2400" dirty="0" err="1">
                <a:solidFill>
                  <a:schemeClr val="bg1"/>
                </a:solidFill>
                <a:latin typeface="Arial Black" panose="020B0A04020102020204" pitchFamily="34" charset="0"/>
              </a:rPr>
              <a:t>Madobi</a:t>
            </a:r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 2023 Final Qualifying Examination</a:t>
            </a:r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35608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BCE558-C1B7-3D6B-91DE-24484C5E3F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00FB077D-B173-B1E2-15A4-FF1104391F8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17" y="178677"/>
            <a:ext cx="11740055" cy="6453352"/>
          </a:xfr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College</a:t>
            </a:r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 </a:t>
            </a:r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of Nursing </a:t>
            </a:r>
            <a:r>
              <a:rPr lang="en-US" sz="2400" dirty="0" err="1">
                <a:solidFill>
                  <a:srgbClr val="FF0000"/>
                </a:solidFill>
                <a:latin typeface="Arial Black" panose="020B0A04020102020204" pitchFamily="34" charset="0"/>
              </a:rPr>
              <a:t>Madobi</a:t>
            </a:r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 2023 Final Qualifying Examination 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1085397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17" y="147145"/>
            <a:ext cx="11750566" cy="647437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College of Nursing Science 2024 Final Qualifying Examination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005156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697" y="57808"/>
            <a:ext cx="11771585" cy="680019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College of Nursing Science 2024 Final Qualifying Examination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492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3844" y="176334"/>
            <a:ext cx="6095998" cy="643061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844" y="129209"/>
            <a:ext cx="5715000" cy="643061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318050"/>
            <a:ext cx="11079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latin typeface="Arial Black" panose="020B0A04020102020204" pitchFamily="34" charset="0"/>
              </a:rPr>
              <a:t>LAND FOR KHETFUND PERMANENT OFFICE ACCOMODATION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5007530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229" y="147145"/>
            <a:ext cx="11750564" cy="647437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2024 FINAL QUALIFYING EXAM @ CONS (SCHOOLS OF MIDWIFERY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692049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185" y="147145"/>
            <a:ext cx="11792607" cy="64848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2024 FINAL QUALIFYING EXAM @ CONS (SCHOOLS OF MIDWIFERY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602325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381" y="167174"/>
            <a:ext cx="11720945" cy="641175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79" y="457200"/>
            <a:ext cx="99487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2024 ACCREDITATION EXERCISE @ SCHOOL OF HYGIE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754411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756" y="178130"/>
            <a:ext cx="11744696" cy="643642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79" y="457200"/>
            <a:ext cx="99487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2024 ACCREDITATION EXERCISE @ SCHOOL OF HYGIE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607795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7673" y="181304"/>
            <a:ext cx="5663292" cy="64008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756" y="181304"/>
            <a:ext cx="6103917" cy="64008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79" y="457200"/>
            <a:ext cx="99487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2024 PRE-FUNDING VERIFICATION EXERCISE @ SMJG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337537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257" y="142717"/>
            <a:ext cx="11697195" cy="652725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79" y="457200"/>
            <a:ext cx="99487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2024 PRE-FUNDING VERIFICATION EXERCISE @ TIGA G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103797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506" y="178131"/>
            <a:ext cx="11802590" cy="643642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79" y="457200"/>
            <a:ext cx="99487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2024 PRE-FUNDING VERIFICATION EXERCISE @ RANO G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242951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17" y="141891"/>
            <a:ext cx="11761076" cy="333703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OFFICE EQUIPMENT/STATIONARIES @ KNCDC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17" y="3121571"/>
            <a:ext cx="11761076" cy="352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23888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8967" y="171634"/>
            <a:ext cx="5470038" cy="643937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996" y="171634"/>
            <a:ext cx="6415970" cy="643937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VULNERABLE GROUP VERIFICATION @ KSCHM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600163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187" y="147145"/>
            <a:ext cx="11782096" cy="64848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VULNERABLE GROUP VERIFICATION @ KSCHM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58413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7782" y="148958"/>
            <a:ext cx="8368747" cy="64804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3230218" y="125879"/>
            <a:ext cx="812358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Arial Black" panose="020B0A04020102020204" pitchFamily="34" charset="0"/>
              </a:rPr>
              <a:t>PRINTING AND DISSEMINATION OF</a:t>
            </a:r>
          </a:p>
          <a:p>
            <a:pPr algn="ctr"/>
            <a:r>
              <a:rPr lang="en-US" sz="2400" dirty="0">
                <a:solidFill>
                  <a:schemeClr val="bg2"/>
                </a:solidFill>
                <a:latin typeface="Arial Black" panose="020B0A04020102020204" pitchFamily="34" charset="0"/>
              </a:rPr>
              <a:t> KHETFUND BENEFICIARY GUID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725" y="148958"/>
            <a:ext cx="4142675" cy="648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40385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697" y="115614"/>
            <a:ext cx="11792605" cy="64848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VULNERABLE GROUP VERIFICATION @ KSCHM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159678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4869" y="150613"/>
            <a:ext cx="6516412" cy="644988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19" y="150613"/>
            <a:ext cx="6421820" cy="644988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TEACHING AIDS @ CONS GWARZO CAMPU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386580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14" y="178677"/>
            <a:ext cx="11876689" cy="644558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15% COUNTERPART FUNDING OF PHARMA GRADE @ DMCS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328670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698" y="147145"/>
            <a:ext cx="11870626" cy="645335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15% COUNTERPART FUNDING OF PHARMA GRADE @ DMCS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576531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54566" y="147145"/>
            <a:ext cx="6337736" cy="646386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698" y="147146"/>
            <a:ext cx="5454868" cy="646386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HOSPITAL EQUIPMENT @ AIUC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005746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07" y="157656"/>
            <a:ext cx="11761076" cy="646386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HOSPITAL EQUIPMENT @ AIUC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565043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560" y="178675"/>
            <a:ext cx="11696701" cy="644284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POST FUNDING VERIFICATION FOR INSTALLATION OF SOLAR @ SMJG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1855882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2965" y="144518"/>
            <a:ext cx="3836275" cy="639291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3117" y="144518"/>
            <a:ext cx="3783724" cy="647437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792" y="144518"/>
            <a:ext cx="3813241" cy="647437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INSTALLATION OF SOLAR @ SMJG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446095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07" y="126124"/>
            <a:ext cx="11761075" cy="64743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INSTALLATION OF SOLAR @ SMJG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855435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4469" y="157656"/>
            <a:ext cx="5924551" cy="6463862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80" y="157656"/>
            <a:ext cx="5861489" cy="646386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HOSPITAL EQUIPMENT @ SMJG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4814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Arial Black" panose="020B0A04020102020204" pitchFamily="34" charset="0"/>
              </a:rPr>
              <a:t>Office Equipment/Furniture @ College of Health Science and Technology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319" y="125879"/>
            <a:ext cx="11742775" cy="6473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076237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980" y="157656"/>
            <a:ext cx="5598730" cy="64638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9077" y="157656"/>
            <a:ext cx="6099944" cy="646386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HOSPITAL EQUIPMENT @ SMJG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779994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07" y="157655"/>
            <a:ext cx="11782096" cy="645335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UPGRADEMENT OF ICT CENTER @ SOHT KANO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5960893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249" y="157654"/>
            <a:ext cx="11729544" cy="64743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UPGRADEMENT OF ICT CENTER @ SOHT KANO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059997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07" y="157655"/>
            <a:ext cx="11750565" cy="645335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UPGRADEMENT OF ICT CENTER @ SOHT KANO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14181254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207" y="199696"/>
            <a:ext cx="11761075" cy="642182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POST FUNDING VERIFICATION OF MAPPING TRADITIONAL MEDICINE VENDOR @ PHIM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9010917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17" y="115614"/>
            <a:ext cx="11750565" cy="648488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POST FUNDING VERIFICATION OF MAPPING TRADITIONAL MEDICINE VENDOR @ PHIMA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7623961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229" y="157655"/>
            <a:ext cx="11740054" cy="646386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CONSTRUCTION OF HIV PAEDIATRIC @ MMS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481796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17" y="178676"/>
            <a:ext cx="11740055" cy="642182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CONSTRUCTION OF HIV PAEDIATRIC @ MMS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7223474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228" y="126123"/>
            <a:ext cx="11729544" cy="643233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CONSTRUCTION OF HIV PAEDIATRIC @ MMS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8804102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697" y="157655"/>
            <a:ext cx="11731735" cy="629569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VERIFICATION OF RESOURCE VISIT FOR ACCREDITATION @ SOHT BBJ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71237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843" y="125878"/>
            <a:ext cx="11807687" cy="64637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Arial Black" panose="020B0A04020102020204" pitchFamily="34" charset="0"/>
              </a:rPr>
              <a:t>KHETFUND OPERATIONAL VEHIC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3022889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228" y="178677"/>
            <a:ext cx="11708523" cy="644284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VERIFICATION OF RESOURCE VISIT FOR ACCREDITATION @ SOHT BBJ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7992834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8381" y="161426"/>
            <a:ext cx="5729160" cy="644055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458" y="161426"/>
            <a:ext cx="6013923" cy="644055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HOSPITAL EQUIPMENT @ MAWT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1725732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9680" y="457200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SOLAR POWER @ DAMBATTA GENERAL HOSPITA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0783027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2335" y="134679"/>
            <a:ext cx="6062773" cy="648670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802" y="134679"/>
            <a:ext cx="5722533" cy="648670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649" y="467833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ACCREDITATION OF INTERNAL MEDICINE @ MAWT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2788266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1070" y="142022"/>
            <a:ext cx="6084038" cy="647936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86" y="142022"/>
            <a:ext cx="5786484" cy="647936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382772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ACCREDITATION OF INTERNAL MEDICINE @ MAWT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7760212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89" y="159488"/>
            <a:ext cx="11669676" cy="645896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382772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DENTAL CHAIR @ ID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5986569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90" y="159488"/>
            <a:ext cx="5991890" cy="647044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679" y="159488"/>
            <a:ext cx="5715442" cy="64704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382772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MEDICAL EQUIPMENT @ ID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040799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680" y="167728"/>
            <a:ext cx="5715440" cy="646220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90" y="159488"/>
            <a:ext cx="5991890" cy="64704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382772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MEDICAL EQUIPMENT @ JAAFR CLINIC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528769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6476" y="167728"/>
            <a:ext cx="5839644" cy="646220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90" y="167728"/>
            <a:ext cx="5867686" cy="646220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382772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MEDICAL EQUIPMENT @ JAAFR CLINIC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3697387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545" y="167728"/>
            <a:ext cx="5541934" cy="646220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3479" y="167728"/>
            <a:ext cx="6179886" cy="646220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382772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MEDICAL EQUIPMENT @ YADAKUNYA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69467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782" y="159026"/>
            <a:ext cx="11767931" cy="645049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Arial Black" panose="020B0A04020102020204" pitchFamily="34" charset="0"/>
              </a:rPr>
              <a:t>KHETFUND OPERATIONAL VEHIC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4297152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0" y="167728"/>
            <a:ext cx="6009765" cy="646220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545" y="167728"/>
            <a:ext cx="5712055" cy="646220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382772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MEDICAL EQUIPMENT @ YADAKUNYA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7148091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651" y="159488"/>
            <a:ext cx="11759609" cy="654611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948423" y="340243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DISTRIBUTION OF DENTAL CHAIRS @ PHCMB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3562119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5148" y="138223"/>
            <a:ext cx="6020397" cy="646459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038" y="138223"/>
            <a:ext cx="5741110" cy="646459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446568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12no MODERN DENTAL CHAIRS @ PHCMB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0505158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2335" y="134679"/>
            <a:ext cx="6062773" cy="6486706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802" y="134679"/>
            <a:ext cx="5722533" cy="648670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649" y="467833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ACCREDITATION OF INTERNAL MEDICINE @ MAWT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4610856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1070" y="142022"/>
            <a:ext cx="6084038" cy="647936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86" y="142022"/>
            <a:ext cx="5786484" cy="647936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382772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ACCREDITATION OF INTERNAL MEDICINE @ MAWT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92977202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89" y="159488"/>
            <a:ext cx="11669676" cy="645896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382772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DENTAL CHAIR @ ID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3635051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90" y="159488"/>
            <a:ext cx="5991890" cy="647044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679" y="159488"/>
            <a:ext cx="5715442" cy="64704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382772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MEDICAL EQUIPMENT @ IDH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2185154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680" y="167728"/>
            <a:ext cx="5715440" cy="6462204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90" y="159488"/>
            <a:ext cx="5991890" cy="64704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382772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MEDICAL EQUIPMENT @ JAAFR CLINIC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5090033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6476" y="167728"/>
            <a:ext cx="5839644" cy="646220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790" y="167728"/>
            <a:ext cx="5867686" cy="646220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382772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FF0000"/>
                </a:solidFill>
                <a:latin typeface="Arial Black" panose="020B0A04020102020204" pitchFamily="34" charset="0"/>
              </a:rPr>
              <a:t>MEDICAL EQUIPMENT @ JAAFR CLINIC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6449771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545" y="167728"/>
            <a:ext cx="5541934" cy="646220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3479" y="167728"/>
            <a:ext cx="6179886" cy="646220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382772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MEDICAL EQUIPMENT @ YADAKUNYA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98106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614" y="149087"/>
            <a:ext cx="11954710" cy="642316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460500"/>
          </a:xfrm>
        </p:spPr>
        <p:txBody>
          <a:bodyPr>
            <a:normAutofit/>
          </a:bodyPr>
          <a:lstStyle/>
          <a:p>
            <a:r>
              <a:rPr lang="en-US" sz="800" dirty="0"/>
              <a:t>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C8FF65-C5BF-46BF-BEED-893B88315B5C}"/>
              </a:ext>
            </a:extLst>
          </p:cNvPr>
          <p:cNvSpPr txBox="1"/>
          <p:nvPr/>
        </p:nvSpPr>
        <p:spPr>
          <a:xfrm>
            <a:off x="274320" y="125879"/>
            <a:ext cx="110794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Arial Black" panose="020B0A04020102020204" pitchFamily="34" charset="0"/>
              </a:rPr>
              <a:t>KHETFUND OPERATIONAL VEHIC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9934929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3600" y="167728"/>
            <a:ext cx="6009765" cy="6462204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545" y="167728"/>
            <a:ext cx="5712055" cy="646220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382772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MEDICAL EQUIPMENT @ YADAKUNYA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22333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545" y="167728"/>
            <a:ext cx="5797115" cy="646220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8660" y="129663"/>
            <a:ext cx="5924705" cy="650026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382772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MEDICAL EQUIPMENT @ GEZAWA GH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4334945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8659" y="159488"/>
            <a:ext cx="5924707" cy="6470443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544" y="159488"/>
            <a:ext cx="5797115" cy="647044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0D8F28C-B4EC-4B0A-A555-E6F8F23646F0}"/>
              </a:ext>
            </a:extLst>
          </p:cNvPr>
          <p:cNvSpPr txBox="1"/>
          <p:nvPr/>
        </p:nvSpPr>
        <p:spPr>
          <a:xfrm>
            <a:off x="1246135" y="382772"/>
            <a:ext cx="96926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Arial Black" panose="020B0A04020102020204" pitchFamily="34" charset="0"/>
              </a:rPr>
              <a:t>MEDICAL EQUIPMENT @ GEZAWA GH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1A0548D-614C-903F-3B68-02EA1DECB40F}"/>
              </a:ext>
            </a:extLst>
          </p:cNvPr>
          <p:cNvSpPr/>
          <p:nvPr/>
        </p:nvSpPr>
        <p:spPr>
          <a:xfrm>
            <a:off x="115614" y="57808"/>
            <a:ext cx="11954710" cy="6647792"/>
          </a:xfrm>
          <a:prstGeom prst="rect">
            <a:avLst/>
          </a:prstGeom>
          <a:noFill/>
          <a:ln w="136525" cmpd="thickThin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5615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917</TotalTime>
  <Words>680</Words>
  <Application>Microsoft Office PowerPoint</Application>
  <PresentationFormat>Widescreen</PresentationFormat>
  <Paragraphs>120</Paragraphs>
  <Slides>9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2</vt:i4>
      </vt:variant>
    </vt:vector>
  </HeadingPairs>
  <TitlesOfParts>
    <vt:vector size="99" baseType="lpstr">
      <vt:lpstr>Arial</vt:lpstr>
      <vt:lpstr>Arial Black</vt:lpstr>
      <vt:lpstr>Calibri</vt:lpstr>
      <vt:lpstr>Calibri Light</vt:lpstr>
      <vt:lpstr>Times New Roman</vt:lpstr>
      <vt:lpstr>Office Theme</vt:lpstr>
      <vt:lpstr>think-cell Slide</vt:lpstr>
      <vt:lpstr>KANO STATE HEALTH TRUST FUND (KHETFUND)   ACHIEVEMENT PICTURES  FROM MAY 203 To DATE </vt:lpstr>
      <vt:lpstr>.</vt:lpstr>
      <vt:lpstr>PowerPoint Presentation</vt:lpstr>
      <vt:lpstr>PowerPoint Presentation</vt:lpstr>
      <vt:lpstr>.</vt:lpstr>
      <vt:lpstr>.</vt:lpstr>
      <vt:lpstr>.</vt:lpstr>
      <vt:lpstr>.</vt:lpstr>
      <vt:lpstr>.</vt:lpstr>
      <vt:lpstr>.</vt:lpstr>
      <vt:lpstr>.</vt:lpstr>
      <vt:lpstr>.</vt:lpstr>
      <vt:lpstr>.</vt:lpstr>
      <vt:lpstr>.</vt:lpstr>
      <vt:lpstr>.</vt:lpstr>
      <vt:lpstr>.</vt:lpstr>
      <vt:lpstr>.</vt:lpstr>
      <vt:lpstr>.</vt:lpstr>
      <vt:lpstr>.</vt:lpstr>
      <vt:lpstr>.</vt:lpstr>
      <vt:lpstr>.</vt:lpstr>
      <vt:lpstr>.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ANO STATE HEALTH TRUST FUND (KHETFUND)</dc:title>
  <dc:creator>HP</dc:creator>
  <cp:lastModifiedBy>Hud Adam Ali</cp:lastModifiedBy>
  <cp:revision>179</cp:revision>
  <dcterms:created xsi:type="dcterms:W3CDTF">2023-09-13T14:24:20Z</dcterms:created>
  <dcterms:modified xsi:type="dcterms:W3CDTF">2025-02-24T05:51:45Z</dcterms:modified>
</cp:coreProperties>
</file>